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4958308874411"/>
          <c:y val="0.12567163355148306"/>
          <c:w val="0.77917345315760345"/>
          <c:h val="0.7308876592671684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B-4530-8A80-D77B0F5AAC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CB-4530-8A80-D77B0F5AAC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CB-4530-8A80-D77B0F5AA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057593-E95D-FE3D-92C8-0C4A1D2C7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0929D8-D58E-017A-DE93-BA6BAF2B3F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0929D8-D58E-017A-DE93-BA6BAF2B3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3C8667D1-054F-96D4-7262-4D684E9CE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A3F363B-5D41-5F5F-5EBA-3D1BA3091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BCB2BC5-3EAE-149F-1343-CA4FD8D0A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FEC8CE4-7A61-6EA3-BF97-B5702D93F7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B3A4C3DC-6529-CB72-A269-32A3D77BF6B6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FD75EC5-2002-510F-E717-845D623FE6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2BD6190-8B96-B9D7-95B8-DAAEE57C36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860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0</TotalTime>
  <Words>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4</cp:revision>
  <dcterms:created xsi:type="dcterms:W3CDTF">2025-07-09T10:57:17Z</dcterms:created>
  <dcterms:modified xsi:type="dcterms:W3CDTF">2025-10-22T09:55:35Z</dcterms:modified>
  <cp:category/>
</cp:coreProperties>
</file>